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  <p:sldMasterId id="2147483676" r:id="rId2"/>
  </p:sldMasterIdLst>
  <p:notesMasterIdLst>
    <p:notesMasterId r:id="rId11"/>
  </p:notesMasterIdLst>
  <p:handoutMasterIdLst>
    <p:handoutMasterId r:id="rId12"/>
  </p:handoutMasterIdLst>
  <p:sldIdLst>
    <p:sldId id="303" r:id="rId3"/>
    <p:sldId id="304" r:id="rId4"/>
    <p:sldId id="366" r:id="rId5"/>
    <p:sldId id="369" r:id="rId6"/>
    <p:sldId id="314" r:id="rId7"/>
    <p:sldId id="373" r:id="rId8"/>
    <p:sldId id="374" r:id="rId9"/>
    <p:sldId id="372" r:id="rId10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C064"/>
    <a:srgbClr val="418A18"/>
    <a:srgbClr val="50AA1E"/>
    <a:srgbClr val="8CD153"/>
    <a:srgbClr val="61CE24"/>
    <a:srgbClr val="7CDF45"/>
    <a:srgbClr val="33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18" autoAdjust="0"/>
    <p:restoredTop sz="94637" autoAdjust="0"/>
  </p:normalViewPr>
  <p:slideViewPr>
    <p:cSldViewPr>
      <p:cViewPr varScale="1">
        <p:scale>
          <a:sx n="67" d="100"/>
          <a:sy n="67" d="100"/>
        </p:scale>
        <p:origin x="-1410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9A6ED2-8BCD-4980-8751-0CDD1B2F288A}" type="datetimeFigureOut">
              <a:rPr lang="ru-RU" smtClean="0"/>
              <a:pPr/>
              <a:t>24.03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942DA2-5B93-4745-BA36-2F87B36844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478457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064CD-A8CF-46D5-8E51-5B10A96711F1}" type="datetimeFigureOut">
              <a:rPr lang="ru-RU" smtClean="0"/>
              <a:pPr/>
              <a:t>24.03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3A6A9B-23DC-4A30-A255-E55EAC5234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7433149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90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0103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6675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353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0757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06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7635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266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168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980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14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1798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0332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5843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5874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1728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378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7119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ZAR_STYLE_2013_Bas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61640" y="104780"/>
            <a:ext cx="7602408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2400" b="1">
                <a:solidFill>
                  <a:srgbClr val="2E8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668348" y="44624"/>
            <a:ext cx="1046462" cy="818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Прямая соединительная линия 15"/>
          <p:cNvCxnSpPr/>
          <p:nvPr userDrawn="1"/>
        </p:nvCxnSpPr>
        <p:spPr bwMode="auto">
          <a:xfrm>
            <a:off x="179519" y="634024"/>
            <a:ext cx="769289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88782" y="89281"/>
            <a:ext cx="290477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9" name="Прямая соединительная линия 18"/>
          <p:cNvCxnSpPr/>
          <p:nvPr userDrawn="1"/>
        </p:nvCxnSpPr>
        <p:spPr bwMode="auto">
          <a:xfrm>
            <a:off x="8462965" y="607827"/>
            <a:ext cx="50006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702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479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0433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7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5114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3009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894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4255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6896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966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9" r:id="rId12"/>
    <p:sldLayoutId id="2147483690" r:id="rId13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07504" y="1844824"/>
            <a:ext cx="280831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Схема реализации инвестиционных проектов с гос. поддержкой / гос. участием» </a:t>
            </a:r>
            <a:br>
              <a:rPr lang="ru-RU" sz="16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 рамках </a:t>
            </a:r>
            <a:br>
              <a:rPr lang="ru-RU" sz="16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Ежегодной общественной премии «Регионы – устойчивое развитие»</a:t>
            </a:r>
            <a:endParaRPr lang="ru-RU" sz="1600" b="1" u="sng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79512" y="4437112"/>
            <a:ext cx="2736304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Управление по работе 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 субъектами РФ 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АО «Сбербанк России»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ешетник Мария  </a:t>
            </a:r>
          </a:p>
          <a:p>
            <a:pPr algn="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ргкомитет </a:t>
            </a: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онкурса </a:t>
            </a:r>
          </a:p>
          <a:p>
            <a:pPr algn="r"/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Ежегодная общественная премия </a:t>
            </a:r>
          </a:p>
          <a:p>
            <a:pPr algn="r"/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Регионы – устойчивое развитие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algn="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Кваша Юрий </a:t>
            </a:r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25</a:t>
            </a:r>
            <a:r>
              <a:rPr lang="en-US" sz="12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марта 2015 г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algn="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г. Ижевск</a:t>
            </a:r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ctrTitle"/>
          </p:nvPr>
        </p:nvSpPr>
        <p:spPr>
          <a:xfrm>
            <a:off x="107505" y="260648"/>
            <a:ext cx="7992888" cy="1440160"/>
          </a:xfrm>
        </p:spPr>
        <p:txBody>
          <a:bodyPr>
            <a:noAutofit/>
          </a:bodyPr>
          <a:lstStyle/>
          <a:p>
            <a:pPr algn="ctr"/>
            <a:r>
              <a:rPr lang="ru-RU" sz="2000" b="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Инструменты реализации долгосрочных инвестиционных проектов на базе </a:t>
            </a: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регламента </a:t>
            </a: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«Инвестиционные проекты с гос. поддержкой и гос. участием» 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на основе проектного финансирования в 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Удмуртской Республике</a:t>
            </a:r>
            <a:r>
              <a:rPr lang="ru-RU" sz="20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>
                <a:latin typeface="Times New Roman" pitchFamily="18" charset="0"/>
                <a:cs typeface="Times New Roman" pitchFamily="18" charset="0"/>
              </a:rPr>
            </a:br>
            <a:endParaRPr lang="ru-RU" sz="2000" b="0" i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1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116632"/>
            <a:ext cx="7581191" cy="529249"/>
          </a:xfrm>
        </p:spPr>
        <p:txBody>
          <a:bodyPr/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         Содержание</a:t>
            </a:r>
            <a:endParaRPr lang="ru-RU" sz="29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</a:rPr>
              <a:t>I</a:t>
            </a:r>
            <a:endParaRPr lang="ru-RU" b="1" dirty="0">
              <a:solidFill>
                <a:srgbClr val="FFFFFF"/>
              </a:solidFill>
            </a:endParaRPr>
          </a:p>
        </p:txBody>
      </p:sp>
      <p:graphicFrame>
        <p:nvGraphicFramePr>
          <p:cNvPr id="8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1731270"/>
              </p:ext>
            </p:extLst>
          </p:nvPr>
        </p:nvGraphicFramePr>
        <p:xfrm>
          <a:off x="179512" y="1700808"/>
          <a:ext cx="8712968" cy="2021524"/>
        </p:xfrm>
        <a:graphic>
          <a:graphicData uri="http://schemas.openxmlformats.org/drawingml/2006/table">
            <a:tbl>
              <a:tblPr firstRow="1" firstCol="1" bandRow="1">
                <a:tableStyleId>{F2DE63D5-997A-4646-A377-4702673A728D}</a:tableStyleId>
              </a:tblPr>
              <a:tblGrid>
                <a:gridCol w="8712968"/>
              </a:tblGrid>
              <a:tr h="935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b="0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32496" marR="32496" marT="0" marB="0" anchor="ctr"/>
                </a:tc>
              </a:tr>
              <a:tr h="328597">
                <a:tc>
                  <a:txBody>
                    <a:bodyPr/>
                    <a:lstStyle/>
                    <a:p>
                      <a:pPr marL="342900" indent="-342900" algn="just">
                        <a:buFont typeface="+mj-lt"/>
                        <a:buAutoNum type="arabicPeriod"/>
                      </a:pPr>
                      <a:r>
                        <a:rPr lang="ru-RU" sz="1400" b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щая информация о Ежегодной общероссийской премии Конкурса «Регионы – устойчивое развитие» (далее Конкурс)</a:t>
                      </a:r>
                      <a:endParaRPr lang="en-US" sz="1400" b="0" dirty="0" smtClean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2496" marR="32496" marT="0" marB="0"/>
                </a:tc>
              </a:tr>
              <a:tr h="328597">
                <a:tc>
                  <a:txBody>
                    <a:bodyPr/>
                    <a:lstStyle/>
                    <a:p>
                      <a:pPr marL="342900" marR="0" indent="-34290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.     Цели и задачи проведения Конкурса и основные шаги к ее реализации</a:t>
                      </a:r>
                      <a:endParaRPr lang="en-US" sz="1400" b="0" dirty="0" smtClean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2496" marR="32496" marT="0" marB="0"/>
                </a:tc>
              </a:tr>
              <a:tr h="328597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.     Организационная структура Конкурса</a:t>
                      </a:r>
                    </a:p>
                  </a:txBody>
                  <a:tcPr marL="32496" marR="32496" marT="0" marB="0"/>
                </a:tc>
              </a:tr>
              <a:tr h="328597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.     Информация по весеннему отбору инвестиционных проектов</a:t>
                      </a:r>
                    </a:p>
                  </a:txBody>
                  <a:tcPr marL="32496" marR="32496" marT="0" marB="0"/>
                </a:tc>
              </a:tr>
              <a:tr h="328597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.     Текущий статус работы Оргкомитета и </a:t>
                      </a:r>
                      <a:r>
                        <a:rPr lang="ru-RU" sz="1400" b="0" kern="120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дмуртской Республики</a:t>
                      </a:r>
                      <a:endParaRPr lang="en-US" sz="1400" b="0" kern="1200" dirty="0" smtClean="0">
                        <a:solidFill>
                          <a:srgbClr val="418A18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32496" marR="32496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4867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104781"/>
            <a:ext cx="7008472" cy="515908"/>
          </a:xfrm>
        </p:spPr>
        <p:txBody>
          <a:bodyPr>
            <a:normAutofit/>
          </a:bodyPr>
          <a:lstStyle/>
          <a:p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Общая информация о Конкурсе «Регионы – устойчивое развитие»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923928" y="1556792"/>
            <a:ext cx="1728192" cy="1080120"/>
          </a:xfrm>
          <a:prstGeom prst="rect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АО «Сбербанк России» (УРС)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072526" y="900009"/>
            <a:ext cx="134363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рганизатор </a:t>
            </a:r>
          </a:p>
          <a:p>
            <a:pPr algn="ctr"/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Конкурса:</a:t>
            </a:r>
            <a:endParaRPr lang="ru-RU" sz="16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403648" y="2780928"/>
            <a:ext cx="3608784" cy="111268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КОНКУРС</a:t>
            </a:r>
          </a:p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«Регионы – устойчивое развитие»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79512" y="960403"/>
            <a:ext cx="3528392" cy="104876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Поручение Правительства Российской Федерации от 10 августа 2011 года № ДК-П9-5670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580112" y="5192032"/>
            <a:ext cx="327069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вышение </a:t>
            </a:r>
            <a:r>
              <a:rPr lang="ru-RU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вестиционной привлекательности регионов РФ и создания новых механизмов финансирования инвестиционных проектов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403648" y="4581128"/>
            <a:ext cx="3672408" cy="923330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етодическое </a:t>
            </a:r>
            <a:r>
              <a:rPr lang="ru-RU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техническое обеспечение </a:t>
            </a:r>
            <a:r>
              <a:rPr lang="ru-RU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ведения мероприятий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нкурса</a:t>
            </a:r>
            <a:endParaRPr lang="ru-RU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403648" y="4005064"/>
            <a:ext cx="3608784" cy="57606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Оргкомитет</a:t>
            </a:r>
          </a:p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«Регионы – устойчивое развитие»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80112" y="4890646"/>
            <a:ext cx="3573414" cy="33855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ЦЕЛЬ ПРОВЕДЕНИЯ КОНКУРСА:</a:t>
            </a:r>
            <a:endParaRPr lang="ru-RU" sz="1600" b="1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9512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6" y="104781"/>
            <a:ext cx="6648432" cy="515908"/>
          </a:xfrm>
        </p:spPr>
        <p:txBody>
          <a:bodyPr>
            <a:normAutofit/>
          </a:bodyPr>
          <a:lstStyle/>
          <a:p>
            <a:r>
              <a:rPr lang="ru-RU" sz="18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Задачи Оргкомитета </a:t>
            </a:r>
            <a:endParaRPr lang="ru-RU" sz="18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79512" y="5373216"/>
            <a:ext cx="3816425" cy="1152128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зработка финансовых механизмов</a:t>
            </a:r>
            <a:r>
              <a:rPr lang="ru-RU" sz="14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для реализации проектов в различных отраслях реального сектора экономики</a:t>
            </a:r>
            <a:endParaRPr lang="ru-RU" sz="14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79512" y="2420888"/>
            <a:ext cx="3816425" cy="936104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бор и систематизация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гиональных проектов и программ регионов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79510" y="3573016"/>
            <a:ext cx="3816425" cy="1656184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труктурирование проектов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 участием сторонних экспертов, с целью повышения инвестиционной привлекательности инвестиционных проектов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4427984" y="4581128"/>
            <a:ext cx="4320480" cy="942027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бор инвесторов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ля реализации отобранных в рамках Конкурса проектов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355977" y="980728"/>
            <a:ext cx="4399594" cy="1584176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ие и внедрение оптимизированной системы прохождения инвестиционной Заявки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 отобранных финансовых институтах, с целью сокращение сроков по ее рассмотрению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4355976" y="2708920"/>
            <a:ext cx="4379502" cy="1684901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мплектование инвестиционных площадок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индустриальных парков) проектами, обеспечивающих внутреннюю кооперацию, при сохранении независимости каждого субъекта хозяйственной деятельности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79512" y="1052736"/>
            <a:ext cx="3816425" cy="1152128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ие нормативно-правовых и административных условий </a:t>
            </a:r>
            <a:r>
              <a:rPr lang="ru-RU" sz="14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для реализации инвестиционных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ектов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79512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528" y="764704"/>
            <a:ext cx="3312368" cy="1138773"/>
          </a:xfrm>
          <a:prstGeom prst="rect">
            <a:avLst/>
          </a:prstGeom>
          <a:solidFill>
            <a:srgbClr val="418A18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печительский совет Конкурса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едседатель Бушмин Е.В.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опредседатель </a:t>
            </a:r>
            <a:r>
              <a:rPr lang="ru-RU" sz="1600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атырин</a:t>
            </a:r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С.Н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23528" y="2996952"/>
            <a:ext cx="3312368" cy="892552"/>
          </a:xfrm>
          <a:prstGeom prst="rect">
            <a:avLst/>
          </a:prstGeom>
          <a:solidFill>
            <a:srgbClr val="418A18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ргкомитет Конкурса</a:t>
            </a:r>
            <a:endParaRPr lang="en-US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едседатель Шеметов В.И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23528" y="5354042"/>
            <a:ext cx="3312368" cy="369332"/>
          </a:xfrm>
          <a:prstGeom prst="rect">
            <a:avLst/>
          </a:prstGeom>
          <a:solidFill>
            <a:srgbClr val="418A18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Экспертный совет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790776" y="2348880"/>
            <a:ext cx="5101704" cy="2246769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71463" indent="-271463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существляет проведение Конкурса и всех его мероприятий</a:t>
            </a:r>
            <a:endParaRPr lang="ru-RU" sz="14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marL="271463" indent="-271463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беспечивает методическое и техническое обеспечение проведения мероприятий Конкурса</a:t>
            </a:r>
          </a:p>
          <a:p>
            <a:pPr marL="271463" indent="-271463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Контролирует ход осуществления проектов, получивших финансирование по итогам Конкурса</a:t>
            </a:r>
          </a:p>
          <a:p>
            <a:pPr marL="271463" indent="-271463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существляет подбор партнеров Конкурса из представителей СМИ, финансовых и страховых институтов, организаций поставщиков и производителей продукции, необходимой для реализации проектов Конкурса, проектных и научных организаций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90776" y="887814"/>
            <a:ext cx="4986216" cy="1169551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ассматривает предложения Экспертного и Организационного комитетов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пределяет победителей Конкурса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пределяет размер и формы финансирования победителей  Конкурса</a:t>
            </a:r>
            <a:endParaRPr lang="ru-RU" sz="14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Заголовок 11"/>
          <p:cNvSpPr txBox="1">
            <a:spLocks noGrp="1"/>
          </p:cNvSpPr>
          <p:nvPr>
            <p:ph type="title"/>
          </p:nvPr>
        </p:nvSpPr>
        <p:spPr>
          <a:xfrm>
            <a:off x="827583" y="251137"/>
            <a:ext cx="28803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8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труктура Конкурса</a:t>
            </a:r>
            <a:endParaRPr lang="ru-RU" sz="18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Заголовок 7"/>
          <p:cNvSpPr txBox="1">
            <a:spLocks/>
          </p:cNvSpPr>
          <p:nvPr/>
        </p:nvSpPr>
        <p:spPr bwMode="auto">
          <a:xfrm>
            <a:off x="161640" y="230904"/>
            <a:ext cx="521928" cy="276999"/>
          </a:xfrm>
          <a:prstGeom prst="rect">
            <a:avLst/>
          </a:prstGeom>
          <a:solidFill>
            <a:srgbClr val="005426"/>
          </a:solidFill>
          <a:ln w="9525" cmpd="dbl">
            <a:solidFill>
              <a:schemeClr val="bg1"/>
            </a:solidFill>
            <a:miter lim="800000"/>
            <a:headEnd/>
            <a:tailEnd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FFFFF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4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825626" y="4997494"/>
            <a:ext cx="5138862" cy="181588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уществляет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оэтапную независимую экспертизу направленных на Конкурс заявок на участие, финансовых планов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оектов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ыносит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екомендательное коллегиальное решение по  кандидатам в победители Конкурса для рассмотрения Попечительским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оветом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Разрабатывает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индивидуальную для каждого проекта структуру финансирования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sz="14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040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79512" y="887814"/>
            <a:ext cx="8597480" cy="203132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400" b="1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На текущий момент Оргкомитет Конкурса и </a:t>
            </a:r>
            <a:r>
              <a:rPr lang="ru-RU" sz="1400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дмуртская Республика:</a:t>
            </a:r>
            <a:endParaRPr lang="ru-RU" sz="1400" b="1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en-US" sz="14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1950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одписан «План взаимодействия» на период 2014-2017 гг.</a:t>
            </a:r>
          </a:p>
          <a:p>
            <a:pPr indent="361950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На территории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дмуртской Республики утверждена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«Схема взаимодействия при реализации инвестиционных  проектов с гос. поддержкой / гос. участием»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- Приказ № 152 от 30.05.2014г.  </a:t>
            </a:r>
            <a:endParaRPr lang="ru-RU" sz="14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1950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формирована база индустриальных парков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дмуртской Республики</a:t>
            </a:r>
            <a:endParaRPr lang="ru-RU" sz="14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1950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формирована база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егиональных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форм государственной поддержки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дмуртской Республики</a:t>
            </a:r>
            <a:endParaRPr lang="ru-RU" sz="14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1950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формирована база генеральных подрядчиков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дмуртской Республики</a:t>
            </a:r>
            <a:r>
              <a:rPr lang="ru-RU" sz="1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для координации включения при реализации инвестиционных проектов </a:t>
            </a:r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бласти</a:t>
            </a:r>
            <a:endParaRPr lang="ru-RU" sz="14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Заголовок 11"/>
          <p:cNvSpPr txBox="1">
            <a:spLocks noGrp="1"/>
          </p:cNvSpPr>
          <p:nvPr>
            <p:ph type="title"/>
          </p:nvPr>
        </p:nvSpPr>
        <p:spPr>
          <a:xfrm>
            <a:off x="827583" y="251137"/>
            <a:ext cx="65527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8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ргкомитет и Удмуртская Республика</a:t>
            </a:r>
            <a:endParaRPr lang="ru-RU" sz="18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Заголовок 7"/>
          <p:cNvSpPr txBox="1">
            <a:spLocks/>
          </p:cNvSpPr>
          <p:nvPr/>
        </p:nvSpPr>
        <p:spPr bwMode="auto">
          <a:xfrm>
            <a:off x="161640" y="230904"/>
            <a:ext cx="521928" cy="276999"/>
          </a:xfrm>
          <a:prstGeom prst="rect">
            <a:avLst/>
          </a:prstGeom>
          <a:solidFill>
            <a:srgbClr val="005426"/>
          </a:solidFill>
          <a:ln w="9525" cmpd="dbl">
            <a:solidFill>
              <a:schemeClr val="bg1"/>
            </a:solidFill>
            <a:miter lim="800000"/>
            <a:headEnd/>
            <a:tailEnd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6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50033" y="3789040"/>
            <a:ext cx="4032448" cy="984885"/>
          </a:xfrm>
          <a:prstGeom prst="rect">
            <a:avLst/>
          </a:prstGeom>
          <a:solidFill>
            <a:srgbClr val="418A18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рлов Антон </a:t>
            </a:r>
            <a:r>
              <a:rPr lang="ru-RU" sz="16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горевич</a:t>
            </a:r>
            <a:endParaRPr lang="en-US" sz="16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ctr"/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уководитель </a:t>
            </a:r>
            <a:endParaRPr lang="en-US" sz="14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ctr"/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Агентства инвестиционного развития Удмуртской Республики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475656" y="3356992"/>
            <a:ext cx="61554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егиональный координатор от Удмуртской Республики</a:t>
            </a:r>
            <a:endParaRPr lang="ru-RU" b="1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51520" y="5157192"/>
            <a:ext cx="8784976" cy="523220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b="1" u="sng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  <a:r>
              <a:rPr lang="ru-RU" sz="1400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en-US" sz="1400" b="1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о работе с инициаторами проектов по включению в консолидированную заявку от Удмуртской Республики</a:t>
            </a:r>
            <a:endParaRPr lang="ru-RU" sz="14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95536" y="5733256"/>
            <a:ext cx="8568952" cy="553998"/>
          </a:xfrm>
          <a:prstGeom prst="rect">
            <a:avLst/>
          </a:prstGeom>
          <a:solidFill>
            <a:srgbClr val="418A18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иректор АНО «Агентство инвестиционного развития Удмуртской Республики»</a:t>
            </a:r>
          </a:p>
          <a:p>
            <a:pPr algn="ctr"/>
            <a:r>
              <a:rPr lang="ru-RU" sz="1600" b="1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ахитов</a:t>
            </a:r>
            <a:r>
              <a:rPr lang="ru-RU" sz="16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Роман </a:t>
            </a:r>
            <a:r>
              <a:rPr lang="ru-RU" sz="1600" b="1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аильевич</a:t>
            </a:r>
            <a:endParaRPr lang="ru-RU" sz="11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813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104781"/>
            <a:ext cx="7080480" cy="515908"/>
          </a:xfrm>
        </p:spPr>
        <p:txBody>
          <a:bodyPr>
            <a:normAutofit/>
          </a:bodyPr>
          <a:lstStyle/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Текущий статус работы Оргкомитета и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Удмуртской Республики</a:t>
            </a:r>
          </a:p>
        </p:txBody>
      </p:sp>
      <p:sp>
        <p:nvSpPr>
          <p:cNvPr id="3" name="Заголовок 7"/>
          <p:cNvSpPr txBox="1">
            <a:spLocks/>
          </p:cNvSpPr>
          <p:nvPr/>
        </p:nvSpPr>
        <p:spPr bwMode="auto">
          <a:xfrm>
            <a:off x="161640" y="230904"/>
            <a:ext cx="521928" cy="276999"/>
          </a:xfrm>
          <a:prstGeom prst="rect">
            <a:avLst/>
          </a:prstGeom>
          <a:solidFill>
            <a:srgbClr val="005426"/>
          </a:solidFill>
          <a:ln w="9525" cmpd="dbl">
            <a:solidFill>
              <a:schemeClr val="bg1"/>
            </a:solidFill>
            <a:miter lim="800000"/>
            <a:headEnd/>
            <a:tailEnd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FFFFF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7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8797804"/>
              </p:ext>
            </p:extLst>
          </p:nvPr>
        </p:nvGraphicFramePr>
        <p:xfrm>
          <a:off x="179512" y="836712"/>
          <a:ext cx="8784977" cy="57197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6308"/>
                <a:gridCol w="7307130"/>
                <a:gridCol w="1231539"/>
              </a:tblGrid>
              <a:tr h="144016">
                <a:tc>
                  <a:txBody>
                    <a:bodyPr/>
                    <a:lstStyle/>
                    <a:p>
                      <a:endParaRPr lang="ru-RU" sz="5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-во проектов,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оступивших за весь период работы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25616">
                <a:tc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з них: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-во проектов, предоставивших полный пакет документов </a:t>
                      </a:r>
                      <a:r>
                        <a:rPr lang="ru-RU" sz="1400" u="sng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 Инициатору проекта </a:t>
                      </a:r>
                      <a:endParaRPr lang="ru-RU" sz="1400" u="sng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з них: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-</a:t>
                      </a:r>
                      <a:r>
                        <a:rPr lang="ru-RU" sz="1400" u="none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роектов, прошедших </a:t>
                      </a:r>
                      <a:r>
                        <a:rPr lang="ru-RU" sz="1400" u="sng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ходную Экспертизу</a:t>
                      </a:r>
                      <a:endParaRPr lang="ru-RU" sz="1400" u="sng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24336">
                <a:tc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914400" lvl="2" indent="0" algn="just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з них: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-во проектов, предоставивших полный пакет документов </a:t>
                      </a:r>
                      <a:r>
                        <a:rPr lang="ru-RU" sz="1400" u="sng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 Инвестиционному проекту 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299432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1371600" marR="0" lvl="3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з них: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-во проектов, предоставивших полный пакет документов по </a:t>
                      </a:r>
                      <a:r>
                        <a:rPr lang="ru-RU" sz="1400" u="sng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ынку сбыта продукции и подтверждение доли собственных средств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1828800" marR="0" lvl="4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з них: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-во проектов, получивших решение </a:t>
                      </a:r>
                      <a:r>
                        <a:rPr lang="ru-RU" sz="1400" u="sng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вестиционного</a:t>
                      </a:r>
                      <a:r>
                        <a:rPr lang="ru-RU" sz="1400" u="sng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комитета 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Инвестора)</a:t>
                      </a:r>
                      <a:endParaRPr lang="ru-RU" sz="1400" u="sng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2286000" marR="0" lvl="5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з них: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-во проектов, получивших решение внешнего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u="sng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Эксперта по финансам 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Банк)</a:t>
                      </a:r>
                      <a:endParaRPr lang="ru-RU" sz="1400" u="sng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2743200" marR="0" lvl="6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з них: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-во проектов, ставших  победителями Конкурса  (Попечительский совет)</a:t>
                      </a:r>
                      <a:endParaRPr lang="ru-RU" sz="1400" u="sng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51520" y="1458064"/>
            <a:ext cx="8568951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Кваша Юрий Александрович</a:t>
            </a:r>
          </a:p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Заместитель  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 Руководителя    направления    по    взаимодействию   с исполнительными  органами  государственной  власти  и  общероссийскими общественными организациями Организационного комитета Конкурса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Ежегодная общественная премия «Регионы – устойчивое развитие»</a:t>
            </a:r>
            <a:endParaRPr lang="ru-RU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 Раб.   8 (495) 236 – 70 – 36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 Моб.  8 (926) 187-03-62</a:t>
            </a:r>
          </a:p>
          <a:p>
            <a:r>
              <a:rPr lang="en-US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kvasha@infra-konkurs.ru</a:t>
            </a:r>
          </a:p>
          <a:p>
            <a:r>
              <a:rPr lang="en-US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www.infra-konkurs.ru</a:t>
            </a: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ешетник Мария</a:t>
            </a:r>
            <a:r>
              <a:rPr lang="en-US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ергеевна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уководитель направления 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правление 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о работе с субъектами 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Ф ОАО «Сбербанк России» </a:t>
            </a:r>
            <a:b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: (495) 957-55-08;  Моб.: (985) 992-68-38</a:t>
            </a:r>
          </a:p>
          <a:p>
            <a:r>
              <a:rPr lang="en-US" u="sng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MSKirpicheva@sberbank.ru</a:t>
            </a:r>
            <a:endParaRPr lang="ru-RU" u="sng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79512" y="908720"/>
            <a:ext cx="6288392" cy="529249"/>
          </a:xfrm>
        </p:spPr>
        <p:txBody>
          <a:bodyPr/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Спасибо за внимание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75</TotalTime>
  <Words>694</Words>
  <Application>Microsoft Office PowerPoint</Application>
  <PresentationFormat>Экран (4:3)</PresentationFormat>
  <Paragraphs>120</Paragraphs>
  <Slides>8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1_Тема Office</vt:lpstr>
      <vt:lpstr>2_Тема Office</vt:lpstr>
      <vt:lpstr>  Инструменты реализации долгосрочных инвестиционных проектов на базе регламента  «Инвестиционные проекты с гос. поддержкой и гос. участием»  на основе проектного финансирования в  Удмуртской Республике  </vt:lpstr>
      <vt:lpstr>          Содержание</vt:lpstr>
      <vt:lpstr>Общая информация о Конкурсе «Регионы – устойчивое развитие»</vt:lpstr>
      <vt:lpstr>Задачи Оргкомитета </vt:lpstr>
      <vt:lpstr> Структура Конкурса</vt:lpstr>
      <vt:lpstr> Оргкомитет и Удмуртская Республика</vt:lpstr>
      <vt:lpstr>Текущий статус работы Оргкомитета и Удмуртской Республики</vt:lpstr>
      <vt:lpstr>Спасибо за внимание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еханизмы реализации инвестиционных проектов с господержкой / госучастием в рамках исполнения</dc:title>
  <dc:creator>belichenko</dc:creator>
  <cp:lastModifiedBy>Юрий Кваша</cp:lastModifiedBy>
  <cp:revision>317</cp:revision>
  <cp:lastPrinted>2015-03-20T03:05:59Z</cp:lastPrinted>
  <dcterms:created xsi:type="dcterms:W3CDTF">2014-11-17T08:55:10Z</dcterms:created>
  <dcterms:modified xsi:type="dcterms:W3CDTF">2015-03-24T17:43:03Z</dcterms:modified>
</cp:coreProperties>
</file>